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12" r:id="rId20"/>
    <p:sldId id="323"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04/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04/10/2024</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04/10/2024</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2.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4.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Phone Pla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286657541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9</a:t>
                      </a:r>
                      <a:r>
                        <a:rPr lang="en-GB" sz="1100" b="0" kern="1200" dirty="0">
                          <a:solidFill>
                            <a:schemeClr val="dk1"/>
                          </a:solidFill>
                          <a:effectLst/>
                          <a:latin typeface="Verdana" panose="020B0604030504040204" pitchFamily="34" charset="0"/>
                          <a:ea typeface="Verdana" panose="020B0604030504040204" pitchFamily="34" charset="0"/>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8%</a:t>
                      </a:r>
                      <a:endParaRPr lang="en-GB" sz="1100" b="0" kern="1200" dirty="0">
                        <a:solidFill>
                          <a:schemeClr val="dk1"/>
                        </a:solidFill>
                        <a:effectLst/>
                        <a:latin typeface="Verdana" panose="020B0604030504040204" pitchFamily="34" charset="0"/>
                        <a:ea typeface="Verdana" panose="020B0604030504040204" pitchFamily="34" charset="0"/>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Google Play</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d Bak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316729"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21</a:t>
            </a:r>
            <a:r>
              <a:rPr lang="en-GB" i="1" baseline="30000" dirty="0">
                <a:latin typeface="Calibri" panose="020F0502020204030204" pitchFamily="34" charset="0"/>
                <a:cs typeface="Calibri" panose="020F0502020204030204" pitchFamily="34" charset="0"/>
              </a:rPr>
              <a:t>st</a:t>
            </a:r>
            <a:r>
              <a:rPr lang="en-GB" i="1" dirty="0">
                <a:latin typeface="Calibri" panose="020F0502020204030204" pitchFamily="34" charset="0"/>
                <a:cs typeface="Calibri" panose="020F0502020204030204" pitchFamily="34" charset="0"/>
              </a:rPr>
              <a:t> June 2024</a:t>
            </a:r>
            <a:r>
              <a:rPr lang="en-GB" sz="1800" i="1" dirty="0">
                <a:latin typeface="Calibri" panose="020F0502020204030204" pitchFamily="34" charset="0"/>
                <a:cs typeface="Calibri" panose="020F0502020204030204" pitchFamily="34" charset="0"/>
              </a:rPr>
              <a:t> ,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 - 25% Off O2 Refresh  20% discount for family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offer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2 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nd flexible retirement</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1585012626"/>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2.63 July 2024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a:t>
            </a:r>
          </a:p>
          <a:p>
            <a:pPr marL="342900" indent="-342900" eaLnBrk="1" hangingPunct="1">
              <a:spcBef>
                <a:spcPts val="1000"/>
              </a:spcBef>
              <a:buBlip>
                <a:blip r:embed="rId3"/>
              </a:buBlip>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3:</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0,274!</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8</TotalTime>
  <Words>1358</Words>
  <Application>Microsoft Office PowerPoint</Application>
  <PresentationFormat>Widescreen</PresentationFormat>
  <Paragraphs>261</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42</cp:revision>
  <dcterms:created xsi:type="dcterms:W3CDTF">2021-10-01T18:33:04Z</dcterms:created>
  <dcterms:modified xsi:type="dcterms:W3CDTF">2024-10-04T14:1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